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72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1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749140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2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Mofe</a:t>
            </a:r>
            <a:r>
              <a:rPr lang="en-US" sz="4000" dirty="0"/>
              <a:t> </a:t>
            </a:r>
            <a:r>
              <a:rPr lang="en-US" sz="4000" dirty="0" err="1"/>
              <a:t>Binitie</a:t>
            </a:r>
            <a:r>
              <a:rPr lang="en-US" dirty="0"/>
              <a:t> – Associate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0918"/>
            <a:ext cx="3590369" cy="8540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Mofe</a:t>
            </a:r>
            <a:r>
              <a:rPr lang="en-US" sz="1200" dirty="0">
                <a:solidFill>
                  <a:prstClr val="black"/>
                </a:solidFill>
              </a:rPr>
              <a:t> has an </a:t>
            </a:r>
            <a:r>
              <a:rPr lang="en-US" sz="1200" dirty="0">
                <a:solidFill>
                  <a:srgbClr val="FF0000"/>
                </a:solidFill>
              </a:rPr>
              <a:t>MBA</a:t>
            </a:r>
            <a:r>
              <a:rPr lang="en-US" sz="1200" dirty="0">
                <a:solidFill>
                  <a:prstClr val="black"/>
                </a:solidFill>
              </a:rPr>
              <a:t> from </a:t>
            </a:r>
            <a:r>
              <a:rPr lang="en-US" sz="1200" dirty="0">
                <a:solidFill>
                  <a:srgbClr val="FF0000"/>
                </a:solidFill>
              </a:rPr>
              <a:t>University of Oxford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 </a:t>
            </a:r>
            <a:r>
              <a:rPr lang="en-US" sz="1200" dirty="0">
                <a:solidFill>
                  <a:srgbClr val="FF0000"/>
                </a:solidFill>
              </a:rPr>
              <a:t>BSc in Economics and Statistics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University of Benin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Mofe</a:t>
            </a:r>
            <a:r>
              <a:rPr lang="en-US" sz="1200" dirty="0">
                <a:solidFill>
                  <a:prstClr val="black"/>
                </a:solidFill>
              </a:rPr>
              <a:t> is fluent in English and has basic skills in Frenc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1852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Mofe</a:t>
            </a:r>
            <a:r>
              <a:rPr lang="en-US" sz="1200" dirty="0"/>
              <a:t> </a:t>
            </a:r>
            <a:r>
              <a:rPr lang="en-US" sz="1200" dirty="0" err="1"/>
              <a:t>Binitie</a:t>
            </a:r>
            <a:r>
              <a:rPr lang="en-US" sz="1200" dirty="0"/>
              <a:t> is an Oxford-trained advisor with several years of transactions experience in the Nigerian market. He worked for both public and private sector clients during his time at Ernst &amp; Young and is a World Economic Forum Global Shaper, serving as the Director of the Lagos hub of the program until he began studies in the UK. His focus at university was on finance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5555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Africa Foresight Group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strategy to help to source crowd funding opportunities in Nigeria to support farm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2 years with EY Lagos, Nigeria </a:t>
            </a:r>
            <a:r>
              <a:rPr lang="en-US" sz="1200" dirty="0"/>
              <a:t>as a Senior Associate (Transactions Advisory Services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rovided due diligence, valuation, business plan assistance, lead advisory, financial model build and review services on transactions with deal value of over $1billion - exceeded expectations in all annual review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dvised the Federal Government of Nigeria, Nigeria Economic Summit Group and the Nigeria Liquefied Petroleum Gas Association on the development of a $3billion program for the substitution of firewood with liquefied petroleum ga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art of the team that valued the unquoted equity investments of the Central Bank of Niger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cted as transaction advisor to the Federal Government of Nigeria on the establishment of a $50million venture capital fund focused on small businesse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 year with </a:t>
            </a:r>
            <a:r>
              <a:rPr lang="en-US" sz="1200" dirty="0" err="1">
                <a:solidFill>
                  <a:schemeClr val="accent1"/>
                </a:solidFill>
              </a:rPr>
              <a:t>Wecyclers</a:t>
            </a:r>
            <a:r>
              <a:rPr lang="en-US" sz="1200" dirty="0">
                <a:solidFill>
                  <a:schemeClr val="accent1"/>
                </a:solidFill>
              </a:rPr>
              <a:t> (Nigerian Recycling Company) Lagos, Nigeria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terned with </a:t>
            </a:r>
            <a:r>
              <a:rPr lang="en-US" sz="1200" dirty="0" err="1"/>
              <a:t>Weyclers</a:t>
            </a:r>
            <a:r>
              <a:rPr lang="en-US" sz="1200" dirty="0"/>
              <a:t> business development team, </a:t>
            </a:r>
            <a:r>
              <a:rPr lang="en-US" sz="1200" dirty="0" err="1"/>
              <a:t>Wecyclers</a:t>
            </a:r>
            <a:r>
              <a:rPr lang="en-US" sz="1200" dirty="0"/>
              <a:t> is Lagos based start-up that helps low-income communities exchange their recyclable waste for cash and other reward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reated the reporting dashboards for the </a:t>
            </a:r>
            <a:r>
              <a:rPr lang="en-US" sz="1200" dirty="0" err="1"/>
              <a:t>Wecyclers</a:t>
            </a:r>
            <a:r>
              <a:rPr lang="en-US" sz="1200" dirty="0"/>
              <a:t> collectors app that will serve 11,000 household in conjunction with the App development team</a:t>
            </a:r>
          </a:p>
        </p:txBody>
      </p:sp>
      <p:sp>
        <p:nvSpPr>
          <p:cNvPr id="25" name="Rectangle: Single Corner Rounded 24">
            <a:extLst>
              <a:ext uri="{FF2B5EF4-FFF2-40B4-BE49-F238E27FC236}">
                <a16:creationId xmlns:a16="http://schemas.microsoft.com/office/drawing/2014/main" id="{BD7F9009-0DAA-4A18-A184-E293051A3EF4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5D51821A-AC65-40B6-8590-6ECE45D51C2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830F5466-8DF8-40C8-A36C-CEC26E411566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4EC13C0-D3D9-4C8A-A187-0DC30240BB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275F6E3-37E6-4F8D-BEC7-A837DD81C28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D3CB98C-5FE6-4BB0-A57B-9D8AF0954EB1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 descr="A person wearing a white shirt and smiling at the camera&#10;&#10;Description automatically generated">
            <a:extLst>
              <a:ext uri="{FF2B5EF4-FFF2-40B4-BE49-F238E27FC236}">
                <a16:creationId xmlns:a16="http://schemas.microsoft.com/office/drawing/2014/main" id="{5977EBE9-BFE0-441E-ACC3-FC17146632A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858124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85</TotalTime>
  <Words>313</Words>
  <Application>Microsoft Macintosh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Mofe Binitie –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73</cp:revision>
  <dcterms:created xsi:type="dcterms:W3CDTF">2020-03-25T12:28:14Z</dcterms:created>
  <dcterms:modified xsi:type="dcterms:W3CDTF">2020-10-06T12:46:41Z</dcterms:modified>
</cp:coreProperties>
</file>